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D8868"/>
    <a:srgbClr val="4C5858"/>
    <a:srgbClr val="AEB3AD"/>
    <a:srgbClr val="94786A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4" autoAdjust="0"/>
    <p:restoredTop sz="88389" autoAdjust="0"/>
  </p:normalViewPr>
  <p:slideViewPr>
    <p:cSldViewPr snapToGrid="0">
      <p:cViewPr varScale="1">
        <p:scale>
          <a:sx n="101" d="100"/>
          <a:sy n="101" d="100"/>
        </p:scale>
        <p:origin x="990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docProps/app.xml><?xml version="1.0" encoding="utf-8"?>
<Properties xmlns="http://schemas.openxmlformats.org/officeDocument/2006/extended-properties" xmlns:vt="http://schemas.openxmlformats.org/officeDocument/2006/docPropsVTypes">
  <TotalTime>4697</TotalTime>
  <Words>672</Words>
  <Application>Microsoft Office PowerPoint</Application>
  <PresentationFormat>Široki zaslon</PresentationFormat>
  <Paragraphs>191</Paragraphs>
  <Slides>14</Slides>
  <Notes>4</Notes>
  <HiddenSlides>0</HiddenSlides>
  <MMClips>0</MMClips>
  <ScaleCrop>false</ScaleCrop>
  <HeadingPairs>
    <vt:vector size="8" baseType="variant">
      <vt:variant>
        <vt:lpstr>Korišteni fontovi</vt:lpstr>
      </vt:variant>
      <vt:variant>
        <vt:i4>5</vt:i4>
      </vt:variant>
      <vt:variant>
        <vt:lpstr>Tema</vt:lpstr>
      </vt:variant>
      <vt:variant>
        <vt:i4>1</vt:i4>
      </vt:variant>
      <vt:variant>
        <vt:lpstr>Uloženi OLE poslužitelji</vt:lpstr>
      </vt:variant>
      <vt:variant>
        <vt:i4>1</vt:i4>
      </vt:variant>
      <vt:variant>
        <vt:lpstr>Naslovi slajdova</vt:lpstr>
      </vt:variant>
      <vt:variant>
        <vt:i4>14</vt:i4>
      </vt:variant>
    </vt:vector>
  </HeadingPairs>
  <TitlesOfParts>
    <vt:vector size="21" baseType="lpstr">
      <vt:lpstr>Arial</vt:lpstr>
      <vt:lpstr>Calibri</vt:lpstr>
      <vt:lpstr>Calibri Light</vt:lpstr>
      <vt:lpstr>IBM Plex Sans</vt:lpstr>
      <vt:lpstr>Wingdings</vt:lpstr>
      <vt:lpstr>Office Theme</vt:lpstr>
      <vt:lpstr>think-cell Slide</vt:lpstr>
      <vt:lpstr>PowerPoint prezentacija</vt:lpstr>
      <vt:lpstr>PowerPoint prezentacija</vt:lpstr>
      <vt:lpstr>Sjecište digitalnih i analognih revizijskih tragova</vt:lpstr>
      <vt:lpstr>Revizija crne kutije</vt:lpstr>
      <vt:lpstr>PowerPoint prezentacija</vt:lpstr>
      <vt:lpstr>Najbolje prakse za sastavljanje izvještaja o unutarnjoj reviziji</vt:lpstr>
      <vt:lpstr>Koristi revizorskih izvješća</vt:lpstr>
      <vt:lpstr>PowerPoint prezentacija</vt:lpstr>
      <vt:lpstr>PowerPoint prezentacija</vt:lpstr>
      <vt:lpstr>Najbolje prakse u borbi protiv prijevare i korupcije</vt:lpstr>
      <vt:lpstr>PowerPoint prezentacija</vt:lpstr>
      <vt:lpstr>PowerPoint prezentacija</vt:lpstr>
      <vt:lpstr>PowerPoint prezentacija</vt:lpstr>
      <vt:lpstr>Model rizika temeljen na Bayesovoj mreži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Assess Internal Controls in a Digital Environment</dc:title>
  <dc:creator>Scott Layton</dc:creator>
  <cp:lastModifiedBy>Marija Galić</cp:lastModifiedBy>
  <cp:revision>40</cp:revision>
  <dcterms:created xsi:type="dcterms:W3CDTF">2019-10-07T16:54:39Z</dcterms:created>
  <dcterms:modified xsi:type="dcterms:W3CDTF">2019-10-23T09:56:44Z</dcterms:modified>
</cp:coreProperties>
</file>